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2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F43684-F5A5-0EF9-AFCC-24265F4F91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F0C351A-203E-DE33-7761-F64799E639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0C351A-203E-DE33-7761-F64799E639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C1108CC-36CC-B325-2E02-3CE344BFC3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85374CF-D55F-7BCD-113D-7DF0ADC163C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5" name="Content Placeholder 2">
            <a:extLst>
              <a:ext uri="{FF2B5EF4-FFF2-40B4-BE49-F238E27FC236}">
                <a16:creationId xmlns:a16="http://schemas.microsoft.com/office/drawing/2014/main" id="{9F25B7BD-C1FA-0F7B-6626-6FFEC6CE500F}"/>
              </a:ext>
            </a:extLst>
          </p:cNvPr>
          <p:cNvSpPr txBox="1">
            <a:spLocks/>
          </p:cNvSpPr>
          <p:nvPr/>
        </p:nvSpPr>
        <p:spPr>
          <a:xfrm>
            <a:off x="1079385" y="3870966"/>
            <a:ext cx="9749275" cy="419895"/>
          </a:xfrm>
          <a:prstGeom prst="rect">
            <a:avLst/>
          </a:prstGeom>
        </p:spPr>
        <p:txBody>
          <a:bodyPr vert="horz" lIns="150148" tIns="75075" rIns="150148" bIns="75075" rtlCol="0" anchor="ctr" anchorCtr="0">
            <a:sp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Clr>
                <a:srgbClr val="1E5155">
                  <a:lumMod val="40000"/>
                  <a:lumOff val="60000"/>
                </a:srgbClr>
              </a:buClr>
              <a:buNone/>
              <a:defRPr/>
            </a:pPr>
            <a:r>
              <a:rPr lang="en-US" sz="1600" dirty="0">
                <a:latin typeface="+mn-lt"/>
              </a:rPr>
              <a:t>Insert Text Here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1BB45BB5-634D-CFDB-F83F-99878D29C4E1}"/>
              </a:ext>
            </a:extLst>
          </p:cNvPr>
          <p:cNvSpPr/>
          <p:nvPr/>
        </p:nvSpPr>
        <p:spPr>
          <a:xfrm>
            <a:off x="642892" y="2568111"/>
            <a:ext cx="10924404" cy="3025376"/>
          </a:xfrm>
          <a:custGeom>
            <a:avLst/>
            <a:gdLst>
              <a:gd name="connsiteX0" fmla="*/ 323438 w 10749280"/>
              <a:gd name="connsiteY0" fmla="*/ 0 h 2976880"/>
              <a:gd name="connsiteX1" fmla="*/ 352452 w 10749280"/>
              <a:gd name="connsiteY1" fmla="*/ 0 h 2976880"/>
              <a:gd name="connsiteX2" fmla="*/ 352452 w 10749280"/>
              <a:gd name="connsiteY2" fmla="*/ 138789 h 2976880"/>
              <a:gd name="connsiteX3" fmla="*/ 420853 w 10749280"/>
              <a:gd name="connsiteY3" fmla="*/ 207190 h 2976880"/>
              <a:gd name="connsiteX4" fmla="*/ 875209 w 10749280"/>
              <a:gd name="connsiteY4" fmla="*/ 207190 h 2976880"/>
              <a:gd name="connsiteX5" fmla="*/ 943610 w 10749280"/>
              <a:gd name="connsiteY5" fmla="*/ 138789 h 2976880"/>
              <a:gd name="connsiteX6" fmla="*/ 943610 w 10749280"/>
              <a:gd name="connsiteY6" fmla="*/ 0 h 2976880"/>
              <a:gd name="connsiteX7" fmla="*/ 10425842 w 10749280"/>
              <a:gd name="connsiteY7" fmla="*/ 0 h 2976880"/>
              <a:gd name="connsiteX8" fmla="*/ 10749280 w 10749280"/>
              <a:gd name="connsiteY8" fmla="*/ 323438 h 2976880"/>
              <a:gd name="connsiteX9" fmla="*/ 10749280 w 10749280"/>
              <a:gd name="connsiteY9" fmla="*/ 2653442 h 2976880"/>
              <a:gd name="connsiteX10" fmla="*/ 10425842 w 10749280"/>
              <a:gd name="connsiteY10" fmla="*/ 2976880 h 2976880"/>
              <a:gd name="connsiteX11" fmla="*/ 10397159 w 10749280"/>
              <a:gd name="connsiteY11" fmla="*/ 2976880 h 2976880"/>
              <a:gd name="connsiteX12" fmla="*/ 10397159 w 10749280"/>
              <a:gd name="connsiteY12" fmla="*/ 2834578 h 2976880"/>
              <a:gd name="connsiteX13" fmla="*/ 10328758 w 10749280"/>
              <a:gd name="connsiteY13" fmla="*/ 2766177 h 2976880"/>
              <a:gd name="connsiteX14" fmla="*/ 9874402 w 10749280"/>
              <a:gd name="connsiteY14" fmla="*/ 2766177 h 2976880"/>
              <a:gd name="connsiteX15" fmla="*/ 9806001 w 10749280"/>
              <a:gd name="connsiteY15" fmla="*/ 2834578 h 2976880"/>
              <a:gd name="connsiteX16" fmla="*/ 9806001 w 10749280"/>
              <a:gd name="connsiteY16" fmla="*/ 2976880 h 2976880"/>
              <a:gd name="connsiteX17" fmla="*/ 323438 w 10749280"/>
              <a:gd name="connsiteY17" fmla="*/ 2976880 h 2976880"/>
              <a:gd name="connsiteX18" fmla="*/ 0 w 10749280"/>
              <a:gd name="connsiteY18" fmla="*/ 2653442 h 2976880"/>
              <a:gd name="connsiteX19" fmla="*/ 0 w 10749280"/>
              <a:gd name="connsiteY19" fmla="*/ 323438 h 2976880"/>
              <a:gd name="connsiteX20" fmla="*/ 323438 w 10749280"/>
              <a:gd name="connsiteY20" fmla="*/ 0 h 2976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0749280" h="2976880">
                <a:moveTo>
                  <a:pt x="323438" y="0"/>
                </a:moveTo>
                <a:lnTo>
                  <a:pt x="352452" y="0"/>
                </a:lnTo>
                <a:lnTo>
                  <a:pt x="352452" y="138789"/>
                </a:lnTo>
                <a:cubicBezTo>
                  <a:pt x="352452" y="176566"/>
                  <a:pt x="383076" y="207190"/>
                  <a:pt x="420853" y="207190"/>
                </a:cubicBezTo>
                <a:lnTo>
                  <a:pt x="875209" y="207190"/>
                </a:lnTo>
                <a:cubicBezTo>
                  <a:pt x="912986" y="207190"/>
                  <a:pt x="943610" y="176566"/>
                  <a:pt x="943610" y="138789"/>
                </a:cubicBezTo>
                <a:lnTo>
                  <a:pt x="943610" y="0"/>
                </a:lnTo>
                <a:lnTo>
                  <a:pt x="10425842" y="0"/>
                </a:lnTo>
                <a:cubicBezTo>
                  <a:pt x="10604472" y="0"/>
                  <a:pt x="10749280" y="144808"/>
                  <a:pt x="10749280" y="323438"/>
                </a:cubicBezTo>
                <a:lnTo>
                  <a:pt x="10749280" y="2653442"/>
                </a:lnTo>
                <a:cubicBezTo>
                  <a:pt x="10749280" y="2832072"/>
                  <a:pt x="10604472" y="2976880"/>
                  <a:pt x="10425842" y="2976880"/>
                </a:cubicBezTo>
                <a:lnTo>
                  <a:pt x="10397159" y="2976880"/>
                </a:lnTo>
                <a:lnTo>
                  <a:pt x="10397159" y="2834578"/>
                </a:lnTo>
                <a:cubicBezTo>
                  <a:pt x="10397159" y="2796801"/>
                  <a:pt x="10366535" y="2766177"/>
                  <a:pt x="10328758" y="2766177"/>
                </a:cubicBezTo>
                <a:lnTo>
                  <a:pt x="9874402" y="2766177"/>
                </a:lnTo>
                <a:cubicBezTo>
                  <a:pt x="9836625" y="2766177"/>
                  <a:pt x="9806001" y="2796801"/>
                  <a:pt x="9806001" y="2834578"/>
                </a:cubicBezTo>
                <a:lnTo>
                  <a:pt x="9806001" y="2976880"/>
                </a:lnTo>
                <a:lnTo>
                  <a:pt x="323438" y="2976880"/>
                </a:lnTo>
                <a:cubicBezTo>
                  <a:pt x="144808" y="2976880"/>
                  <a:pt x="0" y="2832072"/>
                  <a:pt x="0" y="2653442"/>
                </a:cubicBezTo>
                <a:lnTo>
                  <a:pt x="0" y="323438"/>
                </a:lnTo>
                <a:cubicBezTo>
                  <a:pt x="0" y="144808"/>
                  <a:pt x="144808" y="0"/>
                  <a:pt x="323438" y="0"/>
                </a:cubicBez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750715">
              <a:defRPr/>
            </a:pPr>
            <a:endParaRPr lang="en-IN" sz="3939" dirty="0">
              <a:solidFill>
                <a:prstClr val="white"/>
              </a:solidFill>
            </a:endParaRPr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95231091-9D1E-1393-D0BA-534475864ACC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1087552" y="2351692"/>
            <a:ext cx="436883" cy="358469"/>
          </a:xfrm>
          <a:custGeom>
            <a:avLst/>
            <a:gdLst>
              <a:gd name="T0" fmla="*/ 860 w 1462"/>
              <a:gd name="T1" fmla="*/ 0 h 1204"/>
              <a:gd name="T2" fmla="*/ 860 w 1462"/>
              <a:gd name="T3" fmla="*/ 602 h 1204"/>
              <a:gd name="T4" fmla="*/ 1204 w 1462"/>
              <a:gd name="T5" fmla="*/ 602 h 1204"/>
              <a:gd name="T6" fmla="*/ 860 w 1462"/>
              <a:gd name="T7" fmla="*/ 946 h 1204"/>
              <a:gd name="T8" fmla="*/ 860 w 1462"/>
              <a:gd name="T9" fmla="*/ 1204 h 1204"/>
              <a:gd name="T10" fmla="*/ 1462 w 1462"/>
              <a:gd name="T11" fmla="*/ 602 h 1204"/>
              <a:gd name="T12" fmla="*/ 1462 w 1462"/>
              <a:gd name="T13" fmla="*/ 0 h 1204"/>
              <a:gd name="T14" fmla="*/ 860 w 1462"/>
              <a:gd name="T15" fmla="*/ 0 h 1204"/>
              <a:gd name="T16" fmla="*/ 0 w 1462"/>
              <a:gd name="T17" fmla="*/ 602 h 1204"/>
              <a:gd name="T18" fmla="*/ 344 w 1462"/>
              <a:gd name="T19" fmla="*/ 602 h 1204"/>
              <a:gd name="T20" fmla="*/ 0 w 1462"/>
              <a:gd name="T21" fmla="*/ 946 h 1204"/>
              <a:gd name="T22" fmla="*/ 0 w 1462"/>
              <a:gd name="T23" fmla="*/ 1204 h 1204"/>
              <a:gd name="T24" fmla="*/ 602 w 1462"/>
              <a:gd name="T25" fmla="*/ 602 h 1204"/>
              <a:gd name="T26" fmla="*/ 602 w 1462"/>
              <a:gd name="T27" fmla="*/ 0 h 1204"/>
              <a:gd name="T28" fmla="*/ 0 w 1462"/>
              <a:gd name="T29" fmla="*/ 0 h 1204"/>
              <a:gd name="T30" fmla="*/ 0 w 1462"/>
              <a:gd name="T31" fmla="*/ 602 h 1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62" h="1204">
                <a:moveTo>
                  <a:pt x="860" y="0"/>
                </a:moveTo>
                <a:lnTo>
                  <a:pt x="860" y="602"/>
                </a:lnTo>
                <a:lnTo>
                  <a:pt x="1204" y="602"/>
                </a:lnTo>
                <a:cubicBezTo>
                  <a:pt x="1204" y="792"/>
                  <a:pt x="1050" y="946"/>
                  <a:pt x="860" y="946"/>
                </a:cubicBezTo>
                <a:lnTo>
                  <a:pt x="860" y="1204"/>
                </a:lnTo>
                <a:cubicBezTo>
                  <a:pt x="1193" y="1204"/>
                  <a:pt x="1462" y="935"/>
                  <a:pt x="1462" y="602"/>
                </a:cubicBezTo>
                <a:lnTo>
                  <a:pt x="1462" y="0"/>
                </a:lnTo>
                <a:lnTo>
                  <a:pt x="860" y="0"/>
                </a:lnTo>
                <a:close/>
                <a:moveTo>
                  <a:pt x="0" y="602"/>
                </a:moveTo>
                <a:lnTo>
                  <a:pt x="344" y="602"/>
                </a:lnTo>
                <a:cubicBezTo>
                  <a:pt x="344" y="792"/>
                  <a:pt x="190" y="946"/>
                  <a:pt x="0" y="946"/>
                </a:cubicBezTo>
                <a:lnTo>
                  <a:pt x="0" y="1204"/>
                </a:lnTo>
                <a:cubicBezTo>
                  <a:pt x="333" y="1204"/>
                  <a:pt x="602" y="935"/>
                  <a:pt x="602" y="602"/>
                </a:cubicBezTo>
                <a:lnTo>
                  <a:pt x="602" y="0"/>
                </a:lnTo>
                <a:lnTo>
                  <a:pt x="0" y="0"/>
                </a:lnTo>
                <a:lnTo>
                  <a:pt x="0" y="602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 defTabSz="750715">
              <a:defRPr/>
            </a:pPr>
            <a:endParaRPr lang="en-IN" sz="3939" dirty="0">
              <a:solidFill>
                <a:prstClr val="white"/>
              </a:solidFill>
            </a:endParaRPr>
          </a:p>
        </p:txBody>
      </p:sp>
      <p:sp>
        <p:nvSpPr>
          <p:cNvPr id="78" name="Freeform 46">
            <a:extLst>
              <a:ext uri="{FF2B5EF4-FFF2-40B4-BE49-F238E27FC236}">
                <a16:creationId xmlns:a16="http://schemas.microsoft.com/office/drawing/2014/main" id="{2DA9F80D-13F0-AA53-B19B-CEE09ADEA6C8}"/>
              </a:ext>
            </a:extLst>
          </p:cNvPr>
          <p:cNvSpPr>
            <a:spLocks noEditPoints="1"/>
          </p:cNvSpPr>
          <p:nvPr/>
        </p:nvSpPr>
        <p:spPr bwMode="auto">
          <a:xfrm>
            <a:off x="10694471" y="5461004"/>
            <a:ext cx="436883" cy="358469"/>
          </a:xfrm>
          <a:custGeom>
            <a:avLst/>
            <a:gdLst>
              <a:gd name="T0" fmla="*/ 860 w 1462"/>
              <a:gd name="T1" fmla="*/ 0 h 1204"/>
              <a:gd name="T2" fmla="*/ 860 w 1462"/>
              <a:gd name="T3" fmla="*/ 602 h 1204"/>
              <a:gd name="T4" fmla="*/ 1204 w 1462"/>
              <a:gd name="T5" fmla="*/ 602 h 1204"/>
              <a:gd name="T6" fmla="*/ 860 w 1462"/>
              <a:gd name="T7" fmla="*/ 946 h 1204"/>
              <a:gd name="T8" fmla="*/ 860 w 1462"/>
              <a:gd name="T9" fmla="*/ 1204 h 1204"/>
              <a:gd name="T10" fmla="*/ 1462 w 1462"/>
              <a:gd name="T11" fmla="*/ 602 h 1204"/>
              <a:gd name="T12" fmla="*/ 1462 w 1462"/>
              <a:gd name="T13" fmla="*/ 0 h 1204"/>
              <a:gd name="T14" fmla="*/ 860 w 1462"/>
              <a:gd name="T15" fmla="*/ 0 h 1204"/>
              <a:gd name="T16" fmla="*/ 0 w 1462"/>
              <a:gd name="T17" fmla="*/ 602 h 1204"/>
              <a:gd name="T18" fmla="*/ 344 w 1462"/>
              <a:gd name="T19" fmla="*/ 602 h 1204"/>
              <a:gd name="T20" fmla="*/ 0 w 1462"/>
              <a:gd name="T21" fmla="*/ 946 h 1204"/>
              <a:gd name="T22" fmla="*/ 0 w 1462"/>
              <a:gd name="T23" fmla="*/ 1204 h 1204"/>
              <a:gd name="T24" fmla="*/ 602 w 1462"/>
              <a:gd name="T25" fmla="*/ 602 h 1204"/>
              <a:gd name="T26" fmla="*/ 602 w 1462"/>
              <a:gd name="T27" fmla="*/ 0 h 1204"/>
              <a:gd name="T28" fmla="*/ 0 w 1462"/>
              <a:gd name="T29" fmla="*/ 0 h 1204"/>
              <a:gd name="T30" fmla="*/ 0 w 1462"/>
              <a:gd name="T31" fmla="*/ 602 h 1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62" h="1204">
                <a:moveTo>
                  <a:pt x="860" y="0"/>
                </a:moveTo>
                <a:lnTo>
                  <a:pt x="860" y="602"/>
                </a:lnTo>
                <a:lnTo>
                  <a:pt x="1204" y="602"/>
                </a:lnTo>
                <a:cubicBezTo>
                  <a:pt x="1204" y="792"/>
                  <a:pt x="1050" y="946"/>
                  <a:pt x="860" y="946"/>
                </a:cubicBezTo>
                <a:lnTo>
                  <a:pt x="860" y="1204"/>
                </a:lnTo>
                <a:cubicBezTo>
                  <a:pt x="1193" y="1204"/>
                  <a:pt x="1462" y="935"/>
                  <a:pt x="1462" y="602"/>
                </a:cubicBezTo>
                <a:lnTo>
                  <a:pt x="1462" y="0"/>
                </a:lnTo>
                <a:lnTo>
                  <a:pt x="860" y="0"/>
                </a:lnTo>
                <a:close/>
                <a:moveTo>
                  <a:pt x="0" y="602"/>
                </a:moveTo>
                <a:lnTo>
                  <a:pt x="344" y="602"/>
                </a:lnTo>
                <a:cubicBezTo>
                  <a:pt x="344" y="792"/>
                  <a:pt x="190" y="946"/>
                  <a:pt x="0" y="946"/>
                </a:cubicBezTo>
                <a:lnTo>
                  <a:pt x="0" y="1204"/>
                </a:lnTo>
                <a:cubicBezTo>
                  <a:pt x="333" y="1204"/>
                  <a:pt x="602" y="935"/>
                  <a:pt x="602" y="602"/>
                </a:cubicBezTo>
                <a:lnTo>
                  <a:pt x="602" y="0"/>
                </a:lnTo>
                <a:lnTo>
                  <a:pt x="0" y="0"/>
                </a:lnTo>
                <a:lnTo>
                  <a:pt x="0" y="602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 defTabSz="750715">
              <a:defRPr/>
            </a:pPr>
            <a:endParaRPr lang="en-IN" sz="3939" dirty="0">
              <a:solidFill>
                <a:prstClr val="white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D075E3C5-74DD-A5D5-1A48-C074A6DBA1CA}"/>
              </a:ext>
            </a:extLst>
          </p:cNvPr>
          <p:cNvSpPr/>
          <p:nvPr/>
        </p:nvSpPr>
        <p:spPr>
          <a:xfrm>
            <a:off x="626323" y="1455628"/>
            <a:ext cx="10957546" cy="707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750715">
              <a:defRPr/>
            </a:pPr>
            <a:endParaRPr lang="en-IN" sz="3939" b="1" dirty="0">
              <a:solidFill>
                <a:prstClr val="white"/>
              </a:solidFill>
            </a:endParaRPr>
          </a:p>
        </p:txBody>
      </p:sp>
      <p:sp>
        <p:nvSpPr>
          <p:cNvPr id="80" name="Content Placeholder 2">
            <a:extLst>
              <a:ext uri="{FF2B5EF4-FFF2-40B4-BE49-F238E27FC236}">
                <a16:creationId xmlns:a16="http://schemas.microsoft.com/office/drawing/2014/main" id="{71D5639E-37B4-3A8F-E826-67B70C5A23E9}"/>
              </a:ext>
            </a:extLst>
          </p:cNvPr>
          <p:cNvSpPr txBox="1">
            <a:spLocks/>
          </p:cNvSpPr>
          <p:nvPr/>
        </p:nvSpPr>
        <p:spPr>
          <a:xfrm>
            <a:off x="884667" y="1610531"/>
            <a:ext cx="10440858" cy="397838"/>
          </a:xfrm>
          <a:prstGeom prst="rect">
            <a:avLst/>
          </a:prstGeom>
        </p:spPr>
        <p:txBody>
          <a:bodyPr vert="horz" lIns="150148" tIns="75075" rIns="150148" bIns="75075" rtlCol="0" anchor="ctr" anchorCtr="0">
            <a:sp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>
              <a:buClr>
                <a:srgbClr val="1E5155">
                  <a:lumMod val="40000"/>
                  <a:lumOff val="60000"/>
                </a:srgbClr>
              </a:buClr>
              <a:buNone/>
              <a:defRPr/>
            </a:pPr>
            <a:r>
              <a:rPr lang="en-US" sz="1600" b="1" dirty="0">
                <a:solidFill>
                  <a:srgbClr val="FFFFFF"/>
                </a:solidFill>
                <a:latin typeface="+mn-lt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1080169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3</TotalTime>
  <Words>8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Quot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09</cp:revision>
  <dcterms:created xsi:type="dcterms:W3CDTF">2021-03-31T02:49:57Z</dcterms:created>
  <dcterms:modified xsi:type="dcterms:W3CDTF">2025-10-16T10:45:05Z</dcterms:modified>
  <cp:category/>
</cp:coreProperties>
</file>